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"/>
  </p:notesMasterIdLst>
  <p:sldIdLst>
    <p:sldId id="256" r:id="rId3"/>
    <p:sldId id="2147473804" r:id="rId4"/>
    <p:sldId id="2147473805" r:id="rId5"/>
    <p:sldId id="2147473806" r:id="rId6"/>
  </p:sldIdLst>
  <p:sldSz cx="12192000" cy="6858000"/>
  <p:notesSz cx="6858000" cy="9144000"/>
  <p:custDataLst>
    <p:tags r:id="rId8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32CA-CF2B-4FF5-BA2E-93923F459E4F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D53EA5-5BF6-4E1C-8E32-43F69E79286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57962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9F5654-D8E5-4B3F-93C7-71C7569FB8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5783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913629-ECE7-9C24-1055-64D60C388E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DCE9565-8B65-5923-2DD5-A16815CA4C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791297D-69E7-2527-B3AF-6E5C03ADD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C15A3DA-939A-FFAC-5010-D65A2E345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E6BFC7A-94AC-AE2E-F1D7-D6A2CCAA4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91101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E20DDD-7635-AC70-2C36-8ACA3F1E1A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B4C44F7-F100-4B62-39D5-FF39BE4571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43FBD37-5060-6820-9E06-714B0F052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A169F6A-3ACB-57F8-8CC9-BB18FB84F2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8DF7355-7C12-EE18-4310-A1C2B85CE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2802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FA782CC-2B04-7D14-746E-7AB315EC61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8EAA41F-5DC1-73A2-6CA8-3D27ECB422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084DDA3-8BC0-6EBF-0A1C-152A9E524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5D1188A-33DB-DCA9-2612-A12EA28FCC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EB81A4D-4A3E-B1EE-C852-4F81C70B1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41669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832344CB-3534-45AD-AFD7-41E2E6820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49"/>
          <a:stretch/>
        </p:blipFill>
        <p:spPr bwMode="gray">
          <a:xfrm>
            <a:off x="4831870" y="-10346"/>
            <a:ext cx="7360131" cy="6735001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89357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rgbClr val="A1AAB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78880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E72C702-D14D-1142-B7DE-2A6583302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74362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7772400" imgH="10058400" progId="TCLayout.ActiveDocument.1">
                  <p:embed/>
                </p:oleObj>
              </mc:Choice>
              <mc:Fallback>
                <p:oleObj name="Slide do think-cell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E72C702-D14D-1142-B7DE-2A6583302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80928C6C-300E-D048-B385-94FE7B1F09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893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2062493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407429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rgbClr val="A1AAB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121712-CCF8-174F-8D78-1DE2B0E3B51E}"/>
              </a:ext>
            </a:extLst>
          </p:cNvPr>
          <p:cNvSpPr/>
          <p:nvPr userDrawn="1"/>
        </p:nvSpPr>
        <p:spPr bwMode="gray">
          <a:xfrm>
            <a:off x="10524128" y="208345"/>
            <a:ext cx="1218566" cy="821803"/>
          </a:xfrm>
          <a:prstGeom prst="rect">
            <a:avLst/>
          </a:prstGeom>
          <a:solidFill>
            <a:srgbClr val="EFEFF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BR" sz="1800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29192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D4CEC-D3FA-4F47-A8B9-8B53EE69C4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777670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7772400" imgH="10058400" progId="TCLayout.ActiveDocument.1">
                  <p:embed/>
                </p:oleObj>
              </mc:Choice>
              <mc:Fallback>
                <p:oleObj name="Slide do think-cell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D4CEC-D3FA-4F47-A8B9-8B53EE69C4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Icon&#10;&#10;Description automatically generated with medium confidence">
            <a:extLst>
              <a:ext uri="{FF2B5EF4-FFF2-40B4-BE49-F238E27FC236}">
                <a16:creationId xmlns:a16="http://schemas.microsoft.com/office/drawing/2014/main" id="{2E307309-FA10-204E-A689-0E82820771E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893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60237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8173" y="294731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rgbClr val="A1AAB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8C7053-DD83-4F41-BD5B-7E0FF2350B9E}"/>
              </a:ext>
            </a:extLst>
          </p:cNvPr>
          <p:cNvSpPr/>
          <p:nvPr userDrawn="1"/>
        </p:nvSpPr>
        <p:spPr bwMode="gray">
          <a:xfrm>
            <a:off x="10778837" y="138897"/>
            <a:ext cx="1273548" cy="787079"/>
          </a:xfrm>
          <a:prstGeom prst="rect">
            <a:avLst/>
          </a:prstGeom>
          <a:solidFill>
            <a:srgbClr val="EFEFF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BR" sz="1800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6882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42872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58204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1604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2355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2460FF-904B-ED76-B839-9720E86E4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0BC8CB4-8099-4BB9-181C-4D9505833C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A0C0DF-2C0E-203F-8147-A7E5C62841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B31FFD6-6FAF-A95F-B844-5CC311831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DBDDE2E-BEE6-CE32-1B3E-DE86B0DC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3508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57161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83770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05423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77637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34574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25590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28225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1D02D0F-5A6C-6A49-9446-D4F07CCC5CC2}"/>
              </a:ext>
            </a:extLst>
          </p:cNvPr>
          <p:cNvSpPr/>
          <p:nvPr userDrawn="1"/>
        </p:nvSpPr>
        <p:spPr bwMode="gray">
          <a:xfrm>
            <a:off x="92621" y="0"/>
            <a:ext cx="1377747" cy="682906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en-BR" sz="1800" b="1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18004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_alt2" userDrawn="1">
  <p:cSld name="Section Header_alt2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E63531-9172-6343-B04D-74301EB2F7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-1"/>
            <a:ext cx="6096001" cy="6857935"/>
          </a:xfrm>
        </p:spPr>
        <p:txBody>
          <a:bodyPr/>
          <a:lstStyle/>
          <a:p>
            <a:endParaRPr lang="en-US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rgbClr val="FFFFFF"/>
                </a:solidFill>
              </a:defRPr>
            </a:lvl1pPr>
            <a:lvl2pPr lvl="1" rtl="0">
              <a:buNone/>
              <a:defRPr>
                <a:solidFill>
                  <a:srgbClr val="FFFFFF"/>
                </a:solidFill>
              </a:defRPr>
            </a:lvl2pPr>
            <a:lvl3pPr lvl="2" rtl="0">
              <a:buNone/>
              <a:defRPr>
                <a:solidFill>
                  <a:srgbClr val="FFFFFF"/>
                </a:solidFill>
              </a:defRPr>
            </a:lvl3pPr>
            <a:lvl4pPr lvl="3" rtl="0">
              <a:buNone/>
              <a:defRPr>
                <a:solidFill>
                  <a:srgbClr val="FFFFFF"/>
                </a:solidFill>
              </a:defRPr>
            </a:lvl4pPr>
            <a:lvl5pPr lvl="4" rtl="0">
              <a:buNone/>
              <a:defRPr>
                <a:solidFill>
                  <a:srgbClr val="FFFFFF"/>
                </a:solidFill>
              </a:defRPr>
            </a:lvl5pPr>
            <a:lvl6pPr lvl="5" rtl="0">
              <a:buNone/>
              <a:defRPr>
                <a:solidFill>
                  <a:srgbClr val="FFFFFF"/>
                </a:solidFill>
              </a:defRPr>
            </a:lvl6pPr>
            <a:lvl7pPr lvl="6" rtl="0">
              <a:buNone/>
              <a:defRPr>
                <a:solidFill>
                  <a:srgbClr val="FFFFFF"/>
                </a:solidFill>
              </a:defRPr>
            </a:lvl7pPr>
            <a:lvl8pPr lvl="7" rtl="0">
              <a:buNone/>
              <a:defRPr>
                <a:solidFill>
                  <a:srgbClr val="FFFFFF"/>
                </a:solidFill>
              </a:defRPr>
            </a:lvl8pPr>
            <a:lvl9pPr lvl="8" rtl="0">
              <a:buNone/>
              <a:defRPr>
                <a:solidFill>
                  <a:srgbClr val="FFFFFF"/>
                </a:solidFill>
              </a:defRPr>
            </a:lvl9pPr>
          </a:lstStyle>
          <a:p>
            <a:pPr algn="r"/>
            <a:fld id="{00000000-1234-1234-1234-123412341234}" type="slidenum">
              <a:rPr lang="en-GB" smtClean="0"/>
              <a:pPr algn="r"/>
              <a:t>‹nº›</a:t>
            </a:fld>
            <a:endParaRPr lang="en-GB"/>
          </a:p>
        </p:txBody>
      </p:sp>
      <p:sp>
        <p:nvSpPr>
          <p:cNvPr id="12" name="Google Shape;16;p2">
            <a:extLst>
              <a:ext uri="{FF2B5EF4-FFF2-40B4-BE49-F238E27FC236}">
                <a16:creationId xmlns:a16="http://schemas.microsoft.com/office/drawing/2014/main" id="{DA30DE39-AC02-6D43-9B12-DC74D722847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72436" y="433198"/>
            <a:ext cx="5261540" cy="7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3199" b="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6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2D0F975-50D3-B147-91F6-20975A781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2145" y="2303527"/>
            <a:ext cx="4413250" cy="3498257"/>
          </a:xfrm>
        </p:spPr>
        <p:txBody>
          <a:bodyPr/>
          <a:lstStyle>
            <a:lvl1pPr>
              <a:buNone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4629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5FB0317-9E79-E744-8608-E2ADF9795B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6159904"/>
            <a:ext cx="12192000" cy="698096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FAD28899-06F0-5640-B0AA-95C2E193B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58675" y="6349178"/>
            <a:ext cx="2743200" cy="365125"/>
          </a:xfrm>
        </p:spPr>
        <p:txBody>
          <a:bodyPr/>
          <a:lstStyle>
            <a:lvl1pPr>
              <a:defRPr sz="900" b="0" i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8F6FEFC-CCC7-A94C-AAC3-BECAE4BF550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EB43EE-CCCF-C547-B122-91A8DCDC76C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19315" y="1268541"/>
            <a:ext cx="11482561" cy="4769402"/>
          </a:xfrm>
        </p:spPr>
        <p:txBody>
          <a:bodyPr/>
          <a:lstStyle>
            <a:lvl1pPr>
              <a:lnSpc>
                <a:spcPct val="100000"/>
              </a:lnSpc>
              <a:defRPr sz="1799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351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051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17912F7-D185-7742-88A1-1B832D4B44B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9305" y="427889"/>
            <a:ext cx="11482557" cy="607285"/>
          </a:xfrm>
        </p:spPr>
        <p:txBody>
          <a:bodyPr anchor="t">
            <a:noAutofit/>
          </a:bodyPr>
          <a:lstStyle>
            <a:lvl1pPr algn="l">
              <a:defRPr sz="3999" b="1" i="0">
                <a:solidFill>
                  <a:srgbClr val="1E19BB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88105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B66B75B-676A-98A5-428A-26AD6302C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4033DE2-E47C-4AEA-91C1-A76B1C1E57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02A4EEF-0DBE-33C0-5227-9A50A6F048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65A5099-1942-30F7-798C-E10CB85B3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ED81005-09F6-4823-75F7-BDC39BA55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9411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20340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Ins="0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871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_alt2" userDrawn="1">
  <p:cSld name="1_Section Header_alt2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rgbClr val="FFFFFF"/>
                </a:solidFill>
              </a:defRPr>
            </a:lvl1pPr>
            <a:lvl2pPr lvl="1" rtl="0">
              <a:buNone/>
              <a:defRPr>
                <a:solidFill>
                  <a:srgbClr val="FFFFFF"/>
                </a:solidFill>
              </a:defRPr>
            </a:lvl2pPr>
            <a:lvl3pPr lvl="2" rtl="0">
              <a:buNone/>
              <a:defRPr>
                <a:solidFill>
                  <a:srgbClr val="FFFFFF"/>
                </a:solidFill>
              </a:defRPr>
            </a:lvl3pPr>
            <a:lvl4pPr lvl="3" rtl="0">
              <a:buNone/>
              <a:defRPr>
                <a:solidFill>
                  <a:srgbClr val="FFFFFF"/>
                </a:solidFill>
              </a:defRPr>
            </a:lvl4pPr>
            <a:lvl5pPr lvl="4" rtl="0">
              <a:buNone/>
              <a:defRPr>
                <a:solidFill>
                  <a:srgbClr val="FFFFFF"/>
                </a:solidFill>
              </a:defRPr>
            </a:lvl5pPr>
            <a:lvl6pPr lvl="5" rtl="0">
              <a:buNone/>
              <a:defRPr>
                <a:solidFill>
                  <a:srgbClr val="FFFFFF"/>
                </a:solidFill>
              </a:defRPr>
            </a:lvl6pPr>
            <a:lvl7pPr lvl="6" rtl="0">
              <a:buNone/>
              <a:defRPr>
                <a:solidFill>
                  <a:srgbClr val="FFFFFF"/>
                </a:solidFill>
              </a:defRPr>
            </a:lvl7pPr>
            <a:lvl8pPr lvl="7" rtl="0">
              <a:buNone/>
              <a:defRPr>
                <a:solidFill>
                  <a:srgbClr val="FFFFFF"/>
                </a:solidFill>
              </a:defRPr>
            </a:lvl8pPr>
            <a:lvl9pPr lvl="8" rtl="0">
              <a:buNone/>
              <a:defRPr>
                <a:solidFill>
                  <a:srgbClr val="FFFFFF"/>
                </a:solidFill>
              </a:defRPr>
            </a:lvl9pPr>
          </a:lstStyle>
          <a:p>
            <a:pPr algn="r"/>
            <a:fld id="{00000000-1234-1234-1234-123412341234}" type="slidenum">
              <a:rPr lang="en-GB" smtClean="0"/>
              <a:pPr algn="r"/>
              <a:t>‹nº›</a:t>
            </a:fld>
            <a:endParaRPr lang="en-GB"/>
          </a:p>
        </p:txBody>
      </p:sp>
      <p:sp>
        <p:nvSpPr>
          <p:cNvPr id="12" name="Google Shape;16;p2">
            <a:extLst>
              <a:ext uri="{FF2B5EF4-FFF2-40B4-BE49-F238E27FC236}">
                <a16:creationId xmlns:a16="http://schemas.microsoft.com/office/drawing/2014/main" id="{DA30DE39-AC02-6D43-9B12-DC74D722847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937" y="718531"/>
            <a:ext cx="5261540" cy="71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3200" b="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3467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8C5A816-9DAA-9641-B210-041A3C9DFEB0}"/>
              </a:ext>
            </a:extLst>
          </p:cNvPr>
          <p:cNvGrpSpPr/>
          <p:nvPr userDrawn="1"/>
        </p:nvGrpSpPr>
        <p:grpSpPr>
          <a:xfrm>
            <a:off x="616703" y="591197"/>
            <a:ext cx="587784" cy="45600"/>
            <a:chOff x="462527" y="443398"/>
            <a:chExt cx="440838" cy="342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B3182B55-39AA-E84D-8F4A-07281C9A5EAC}"/>
                </a:ext>
              </a:extLst>
            </p:cNvPr>
            <p:cNvSpPr/>
            <p:nvPr userDrawn="1"/>
          </p:nvSpPr>
          <p:spPr>
            <a:xfrm>
              <a:off x="462527" y="443398"/>
              <a:ext cx="220500" cy="342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B2982864-AD84-0545-A49F-C33654D11905}"/>
                </a:ext>
              </a:extLst>
            </p:cNvPr>
            <p:cNvSpPr/>
            <p:nvPr userDrawn="1"/>
          </p:nvSpPr>
          <p:spPr>
            <a:xfrm>
              <a:off x="682865" y="443398"/>
              <a:ext cx="220500" cy="342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5" name="Google Shape;51;p7">
            <a:extLst>
              <a:ext uri="{FF2B5EF4-FFF2-40B4-BE49-F238E27FC236}">
                <a16:creationId xmlns:a16="http://schemas.microsoft.com/office/drawing/2014/main" id="{652DF4B2-79B7-204E-8B3E-EBFCE13C958F}"/>
              </a:ext>
            </a:extLst>
          </p:cNvPr>
          <p:cNvSpPr txBox="1">
            <a:spLocks/>
          </p:cNvSpPr>
          <p:nvPr userDrawn="1"/>
        </p:nvSpPr>
        <p:spPr>
          <a:xfrm>
            <a:off x="10981996" y="6298545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600" b="0" i="0" u="none" strike="noStrike" cap="none">
                <a:solidFill>
                  <a:srgbClr val="A1AAB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GB" sz="800" smtClean="0"/>
              <a:pPr algn="r"/>
              <a:t>‹nº›</a:t>
            </a:fld>
            <a:endParaRPr lang="en-GB" sz="800"/>
          </a:p>
        </p:txBody>
      </p:sp>
      <p:pic>
        <p:nvPicPr>
          <p:cNvPr id="17" name="Google Shape;53;p7">
            <a:extLst>
              <a:ext uri="{FF2B5EF4-FFF2-40B4-BE49-F238E27FC236}">
                <a16:creationId xmlns:a16="http://schemas.microsoft.com/office/drawing/2014/main" id="{731793CA-906E-DC48-B42F-7C6A0512389C}"/>
              </a:ext>
            </a:extLst>
          </p:cNvPr>
          <p:cNvPicPr preferRelativeResize="0"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>
          <a:xfrm>
            <a:off x="609002" y="6365470"/>
            <a:ext cx="822940" cy="33453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2D0F975-50D3-B147-91F6-20975A7817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3871" y="2303528"/>
            <a:ext cx="3285763" cy="844787"/>
          </a:xfrm>
        </p:spPr>
        <p:txBody>
          <a:bodyPr/>
          <a:lstStyle>
            <a:lvl1pPr algn="l">
              <a:buNone/>
              <a:defRPr sz="21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itl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0B4CF1F-2411-7841-84F3-AED8781EC0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3871" y="3167771"/>
            <a:ext cx="3285763" cy="1925091"/>
          </a:xfrm>
        </p:spPr>
        <p:txBody>
          <a:bodyPr/>
          <a:lstStyle>
            <a:lvl1pPr algn="l"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itl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FED3A542-DBBA-234E-B2D4-22600393D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76901" y="2303528"/>
            <a:ext cx="3285763" cy="844787"/>
          </a:xfrm>
        </p:spPr>
        <p:txBody>
          <a:bodyPr/>
          <a:lstStyle>
            <a:lvl1pPr algn="l">
              <a:buNone/>
              <a:defRPr sz="21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itl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0259B09-53EA-0946-8739-72825EF4A8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76901" y="3167771"/>
            <a:ext cx="3285763" cy="1925091"/>
          </a:xfrm>
        </p:spPr>
        <p:txBody>
          <a:bodyPr/>
          <a:lstStyle>
            <a:lvl1pPr algn="l"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itl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4077B68-B081-CB40-AC8F-3C2534FF40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49933" y="2303528"/>
            <a:ext cx="3285763" cy="844787"/>
          </a:xfrm>
        </p:spPr>
        <p:txBody>
          <a:bodyPr/>
          <a:lstStyle>
            <a:lvl1pPr algn="l">
              <a:buNone/>
              <a:defRPr sz="21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itl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C337370-451B-DB4B-9D87-221503D198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49933" y="3167771"/>
            <a:ext cx="3285763" cy="1925091"/>
          </a:xfrm>
        </p:spPr>
        <p:txBody>
          <a:bodyPr/>
          <a:lstStyle>
            <a:lvl1pPr algn="l">
              <a:buFont typeface="Arial" panose="020B0604020202020204" pitchFamily="34" charset="0"/>
              <a:buNone/>
              <a:defRPr sz="14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25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itl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8EC7451-04BE-2E45-AC82-B7D669116E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2747" y="6363249"/>
            <a:ext cx="2820720" cy="410633"/>
          </a:xfrm>
        </p:spPr>
        <p:txBody>
          <a:bodyPr/>
          <a:lstStyle>
            <a:lvl1pPr>
              <a:buNone/>
              <a:defRPr sz="800">
                <a:latin typeface="+mn-lt"/>
              </a:defRPr>
            </a:lvl1pPr>
            <a:lvl2pPr>
              <a:buNone/>
              <a:defRPr sz="800">
                <a:latin typeface="+mn-lt"/>
              </a:defRPr>
            </a:lvl2pPr>
            <a:lvl3pPr>
              <a:buNone/>
              <a:defRPr sz="800">
                <a:latin typeface="+mn-lt"/>
              </a:defRPr>
            </a:lvl3pPr>
            <a:lvl4pPr>
              <a:buNone/>
              <a:defRPr sz="800">
                <a:latin typeface="+mn-lt"/>
              </a:defRPr>
            </a:lvl4pPr>
            <a:lvl5pPr>
              <a:buNone/>
              <a:defRPr sz="800">
                <a:latin typeface="+mn-lt"/>
              </a:defRPr>
            </a:lvl5pPr>
          </a:lstStyle>
          <a:p>
            <a:pPr lvl="0"/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3745399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553FE9-6231-C41C-13F3-C88E215BB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7ED30F3-169F-0D84-09DB-0DF747722D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D9DED44-BE86-9D02-A504-38DA73FE6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0C2697F-8194-5ED2-DD7C-DB2F7C9F18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77CE210-62AB-D4F7-760F-5AA82F06FB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86DFE9E-FE08-F679-6EC9-61706C90E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37031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9A2A11-E543-58DF-26D5-BEA0C819F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5C0EF53-9DA3-BB78-7CFB-4F76AE335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052B3737-7434-1139-25BA-2009A7F1B7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6D3ED8B0-5C32-A00F-C1E5-4551910405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1A949266-26BF-BC18-EA9B-49487AFFD0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8C53EC3-5DA2-0733-EB49-3FF5196FC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D6323719-8933-B300-BABE-FF712611F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FCD0B6FF-5DE4-BB02-038B-7D9612C82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0171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77CEC0-677C-9D50-9ED1-09218BDB7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E2D648CC-62AC-DA3A-829D-D5EC4EA53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A21A645-E9E6-7363-8712-42922C349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8822EB2-257D-F558-D3CE-CB3C615E0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6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5EC8B346-D44D-DD0D-F6C0-7933D14B2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35B02C48-629A-ACA1-8614-45C387B58C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10C1F59-F17B-7A13-B9F3-915ED1B56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4249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AEC4BE-7ED2-236C-5E23-3F34BE6C93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04CA163-F0B5-DA0B-3B4B-3EA7131B40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BC1A663-1A09-95D8-B779-410D33FF0B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0914194-F9D5-85D6-7A86-CF09092E76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42B9522-5776-AE06-3900-363ECFDE6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FB05288-8B71-F7C2-875C-0CB3A2FE2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2911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84CC75-AEC4-E4B1-37C4-FAAB53DA5C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B4C59226-14EC-AC0D-4007-4BBBB005A82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3BBB389-1E36-B0B6-AD79-6F68C5B01D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08ABFB79-6DBA-008A-26EB-75CD4C612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414BCE8-4A57-B1DB-0F7C-EB39F48DD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1B00660-1976-3E4A-D63E-063604CEA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7085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heme" Target="../theme/theme2.xml"/><Relationship Id="rId27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6F0392F-B991-8CC0-F787-1E57BFCBBE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47797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95" imgH="396" progId="TCLayout.ActiveDocument.1">
                  <p:embed/>
                </p:oleObj>
              </mc:Choice>
              <mc:Fallback>
                <p:oleObj name="Slide do think-cell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0C0F1F70-4D61-EBDC-F6EF-C05A7B9A0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4602060-C184-5EF0-6D98-73D640E855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CD63312-D857-D3D6-87B8-61F2832906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BFBF3C-4342-4BA2-A4FB-96E18F51FD36}" type="datetimeFigureOut">
              <a:rPr lang="pt-BR" smtClean="0"/>
              <a:t>14/04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BC50007-747C-B5DD-A180-CCAF185353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E7FC8C-61CE-6902-CA43-4D5C8C8D58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F1302-EBB6-4E5F-AA3E-40D44EC743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3114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0E9F59-B672-D24D-A8F8-9D2680D5B8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07443839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5" imgW="7772400" imgH="10058400" progId="TCLayout.ActiveDocument.1">
                  <p:embed/>
                </p:oleObj>
              </mc:Choice>
              <mc:Fallback>
                <p:oleObj name="Slide do think-cell" r:id="rId2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0E9F59-B672-D24D-A8F8-9D2680D5B8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/>
            </a:p>
          </p:txBody>
        </p:sp>
      </p:grp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F9F93DF4-D19B-46BE-B88F-8BB1DA82CA35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nº›</a:t>
            </a:fld>
            <a:endParaRPr lang="en-US" sz="80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5" name="Google Shape;52;p7">
            <a:extLst>
              <a:ext uri="{FF2B5EF4-FFF2-40B4-BE49-F238E27FC236}">
                <a16:creationId xmlns:a16="http://schemas.microsoft.com/office/drawing/2014/main" id="{32B9580A-B465-4E15-BAF0-0919554158D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rgbClr val="A1AAB1"/>
              </a:solidFill>
            </a:endParaRPr>
          </a:p>
        </p:txBody>
      </p:sp>
    </p:spTree>
    <p:custDataLst>
      <p:tags r:id="rId23"/>
    </p:custDataLst>
    <p:extLst>
      <p:ext uri="{BB962C8B-B14F-4D97-AF65-F5344CB8AC3E}">
        <p14:creationId xmlns:p14="http://schemas.microsoft.com/office/powerpoint/2010/main" val="2090283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6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7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8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1B4A673-084B-91F0-7FC9-D17731E76D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460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6" progId="TCLayout.ActiveDocument.1">
                  <p:embed/>
                </p:oleObj>
              </mc:Choice>
              <mc:Fallback>
                <p:oleObj name="Slide do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A20D2BE-AC4D-243A-E909-16C091FF52C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dirty="0"/>
              <a:t>Cross </a:t>
            </a:r>
            <a:r>
              <a:rPr lang="pt-BR" dirty="0" err="1"/>
              <a:t>pollination</a:t>
            </a:r>
            <a:endParaRPr lang="pt-BR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8946365-2B69-1574-F251-0671E7590D3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t-BR" dirty="0"/>
              <a:t>Risk </a:t>
            </a:r>
            <a:r>
              <a:rPr lang="pt-BR" dirty="0" err="1"/>
              <a:t>sharing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90137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FE9CD74-F817-8277-866D-132541CDC0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E9CD74-F817-8277-866D-132541CDC0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aixaDeTexto 7">
            <a:extLst>
              <a:ext uri="{FF2B5EF4-FFF2-40B4-BE49-F238E27FC236}">
                <a16:creationId xmlns:a16="http://schemas.microsoft.com/office/drawing/2014/main" id="{EA40E609-3335-4FEE-25EC-DDCCF7CB411A}"/>
              </a:ext>
            </a:extLst>
          </p:cNvPr>
          <p:cNvSpPr txBox="1"/>
          <p:nvPr/>
        </p:nvSpPr>
        <p:spPr>
          <a:xfrm>
            <a:off x="338328" y="620674"/>
            <a:ext cx="11515344" cy="3933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pt-BR"/>
            </a:defPPr>
            <a:lvl1pPr>
              <a:lnSpc>
                <a:spcPct val="80000"/>
              </a:lnSpc>
              <a:spcAft>
                <a:spcPts val="600"/>
              </a:spcAft>
              <a:defRPr sz="2400" b="1">
                <a:solidFill>
                  <a:srgbClr val="7030A0"/>
                </a:solidFill>
                <a:latin typeface="Arial" panose="020B060402020202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Risk sharing: new ways of negotiating with external partners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47B4E169-6D67-7C82-6E9C-D27DE1B004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8328" y="2226607"/>
            <a:ext cx="8493914" cy="2335121"/>
          </a:xfrm>
          <a:prstGeom prst="rect">
            <a:avLst/>
          </a:prstGeom>
        </p:spPr>
      </p:pic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8D52444E-253D-3CCB-54C7-7761961EA65D}"/>
              </a:ext>
            </a:extLst>
          </p:cNvPr>
          <p:cNvSpPr/>
          <p:nvPr/>
        </p:nvSpPr>
        <p:spPr bwMode="gray">
          <a:xfrm>
            <a:off x="8917969" y="2226607"/>
            <a:ext cx="2935703" cy="233512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Cost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per </a:t>
            </a:r>
            <a:r>
              <a:rPr kumimoji="0" lang="pt-BR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email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ent</a:t>
            </a: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: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NEU: 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R$ 3,00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ED: R$ 2,50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Charge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on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#e-mails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ent</a:t>
            </a: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B4FD3674-1859-23CF-D98F-C9D0FE5090D0}"/>
              </a:ext>
            </a:extLst>
          </p:cNvPr>
          <p:cNvSpPr txBox="1"/>
          <p:nvPr/>
        </p:nvSpPr>
        <p:spPr bwMode="gray">
          <a:xfrm>
            <a:off x="389698" y="1882986"/>
            <a:ext cx="11515344" cy="554805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AFYA’s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roposal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to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end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our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e-mails to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their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database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–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Avg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%OR 28% &amp; %CTR 1%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- 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10% OVERLAP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vs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Pfizer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database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B2F09E1E-10F2-A587-6810-A29CBEB7E88E}"/>
              </a:ext>
            </a:extLst>
          </p:cNvPr>
          <p:cNvSpPr/>
          <p:nvPr/>
        </p:nvSpPr>
        <p:spPr bwMode="gray">
          <a:xfrm>
            <a:off x="7469312" y="3678150"/>
            <a:ext cx="1448657" cy="554805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C4022434-95D9-25A3-7604-EDDD634CD4CD}"/>
              </a:ext>
            </a:extLst>
          </p:cNvPr>
          <p:cNvSpPr/>
          <p:nvPr/>
        </p:nvSpPr>
        <p:spPr bwMode="gray">
          <a:xfrm>
            <a:off x="6471006" y="2358083"/>
            <a:ext cx="1142145" cy="554805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56E42B75-9CFB-D053-B718-E057DA6ABC2C}"/>
              </a:ext>
            </a:extLst>
          </p:cNvPr>
          <p:cNvSpPr txBox="1"/>
          <p:nvPr/>
        </p:nvSpPr>
        <p:spPr bwMode="gray">
          <a:xfrm>
            <a:off x="384982" y="4627946"/>
            <a:ext cx="11515344" cy="554805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fizer </a:t>
            </a:r>
            <a:r>
              <a:rPr kumimoji="0" lang="pt-BR" sz="1600" b="1" i="0" u="none" strike="noStrike" kern="1200" cap="none" spc="0" normalizeH="0" baseline="0" noProof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counter-proposal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: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EAF6A8FA-B947-F023-8150-90671C70A333}"/>
              </a:ext>
            </a:extLst>
          </p:cNvPr>
          <p:cNvSpPr txBox="1"/>
          <p:nvPr/>
        </p:nvSpPr>
        <p:spPr bwMode="gray">
          <a:xfrm>
            <a:off x="338327" y="1399792"/>
            <a:ext cx="109324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Objective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: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expand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Cuidando do Futuro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reach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and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bring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access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to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fizerPro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ages</a:t>
            </a: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6A06FEC7-8463-D82E-8861-DB6BAB5F3AC9}"/>
              </a:ext>
            </a:extLst>
          </p:cNvPr>
          <p:cNvSpPr/>
          <p:nvPr/>
        </p:nvSpPr>
        <p:spPr bwMode="gray">
          <a:xfrm>
            <a:off x="0" y="6318607"/>
            <a:ext cx="2044557" cy="539393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0000C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Retângulo: Cantos Arredondados 20">
            <a:extLst>
              <a:ext uri="{FF2B5EF4-FFF2-40B4-BE49-F238E27FC236}">
                <a16:creationId xmlns:a16="http://schemas.microsoft.com/office/drawing/2014/main" id="{EA3DD5F9-99AF-3BF4-570B-41DB31C700B5}"/>
              </a:ext>
            </a:extLst>
          </p:cNvPr>
          <p:cNvSpPr/>
          <p:nvPr/>
        </p:nvSpPr>
        <p:spPr bwMode="gray">
          <a:xfrm>
            <a:off x="384983" y="4979929"/>
            <a:ext cx="2512330" cy="168518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1. 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No </a:t>
            </a:r>
            <a:r>
              <a:rPr kumimoji="0" lang="pt-B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justification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for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cost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per PNEU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email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be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higher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than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PED e-mails. Both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hould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be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R$2,50</a:t>
            </a: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6B512F47-3F11-75AB-21EC-24E066CEC492}"/>
              </a:ext>
            </a:extLst>
          </p:cNvPr>
          <p:cNvSpPr/>
          <p:nvPr/>
        </p:nvSpPr>
        <p:spPr bwMode="gray">
          <a:xfrm>
            <a:off x="2969232" y="4984505"/>
            <a:ext cx="2512330" cy="168518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2. 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The </a:t>
            </a:r>
            <a:r>
              <a:rPr kumimoji="0" lang="pt-B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effort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of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ending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100 </a:t>
            </a:r>
            <a:r>
              <a:rPr kumimoji="0" lang="pt-B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or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100M e-mails </a:t>
            </a:r>
            <a:r>
              <a:rPr kumimoji="0" lang="pt-B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is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the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ame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– no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justification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to charge per e-mails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ent</a:t>
            </a: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3" name="Retângulo: Cantos Arredondados 22">
            <a:extLst>
              <a:ext uri="{FF2B5EF4-FFF2-40B4-BE49-F238E27FC236}">
                <a16:creationId xmlns:a16="http://schemas.microsoft.com/office/drawing/2014/main" id="{7F66E248-AC2C-4EEF-D50A-E2B5995A7AF0}"/>
              </a:ext>
            </a:extLst>
          </p:cNvPr>
          <p:cNvSpPr/>
          <p:nvPr/>
        </p:nvSpPr>
        <p:spPr bwMode="gray">
          <a:xfrm>
            <a:off x="5553481" y="5002870"/>
            <a:ext cx="6300191" cy="168518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3. Risk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haring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: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ayment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based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on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%OR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with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800" b="1" i="0" u="none" strike="noStrike" kern="1200" cap="none" spc="0" normalizeH="0" baseline="0" noProof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rules</a:t>
            </a:r>
            <a:r>
              <a:rPr kumimoji="0" lang="pt-BR" sz="1800" b="1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: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  <a:p>
            <a:pPr marL="285750" marR="0" lvl="0" indent="-28575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If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%OR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is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≤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Avg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28% = ~R$58k;</a:t>
            </a:r>
          </a:p>
          <a:p>
            <a:pPr marL="285750" marR="0" lvl="0" indent="-28575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  <a:p>
            <a:pPr marL="285750" marR="0" lvl="0" indent="-28575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If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%OR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is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&gt; 28% = Charge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according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to %OR.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Ex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: OR 35% = ~ R$85k</a:t>
            </a:r>
          </a:p>
          <a:p>
            <a:pPr marL="285750" marR="0" lvl="0" indent="-28575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  <a:p>
            <a:pPr marL="285750" marR="0" lvl="0" indent="-28575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If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%OR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is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100% (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max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ossible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) = Pfizer </a:t>
            </a:r>
            <a:r>
              <a:rPr kumimoji="0" lang="pt-BR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pays</a:t>
            </a: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R$ 242k</a:t>
            </a: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</a:t>
            </a: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pic>
        <p:nvPicPr>
          <p:cNvPr id="3" name="Grafik 8" descr="Offene Hand mit Pflanze">
            <a:extLst>
              <a:ext uri="{FF2B5EF4-FFF2-40B4-BE49-F238E27FC236}">
                <a16:creationId xmlns:a16="http://schemas.microsoft.com/office/drawing/2014/main" id="{5DCAEB0C-6A95-948C-18CE-63C21E0E8C4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08652" y="85015"/>
            <a:ext cx="492125" cy="49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9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1" grpId="0" animBg="1"/>
      <p:bldP spid="22" grpId="0" animBg="1"/>
      <p:bldP spid="2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CB76A41-D89D-1A02-C242-5B87F571B2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638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6" progId="TCLayout.ActiveDocument.1">
                  <p:embed/>
                </p:oleObj>
              </mc:Choice>
              <mc:Fallback>
                <p:oleObj name="Slide do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C655EF2-A0A6-3150-C3AB-462E7C547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Análises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5CCB7D24-1DC8-86DE-8761-223EAFEFCE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7237" y="1354074"/>
            <a:ext cx="11172825" cy="458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137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6B189C-F701-C8B0-6498-80AEE4B108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7492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6" progId="TCLayout.ActiveDocument.1">
                  <p:embed/>
                </p:oleObj>
              </mc:Choice>
              <mc:Fallback>
                <p:oleObj name="Slide do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1">
            <a:extLst>
              <a:ext uri="{FF2B5EF4-FFF2-40B4-BE49-F238E27FC236}">
                <a16:creationId xmlns:a16="http://schemas.microsoft.com/office/drawing/2014/main" id="{8205C3E1-FD17-7AA5-5EED-394C8A6A1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914" y="484632"/>
            <a:ext cx="11295782" cy="850392"/>
          </a:xfrm>
        </p:spPr>
        <p:txBody>
          <a:bodyPr vert="horz"/>
          <a:lstStyle/>
          <a:p>
            <a:r>
              <a:rPr lang="pt-BR" dirty="0"/>
              <a:t>Análise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E8A1D46-FDC3-C9B4-C50D-657BAAF925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382" y="1718751"/>
            <a:ext cx="11421236" cy="1902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51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er PowerPoint Template_Logo_Confidential_16x9_011421_1130am.pptx" id="{89FC0598-B349-48E3-9A8B-72BFBCB98DF8}" vid="{0EBF093D-583F-46B6-8995-C451C08539D8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9</Words>
  <Application>Microsoft Office PowerPoint</Application>
  <PresentationFormat>Widescreen</PresentationFormat>
  <Paragraphs>24</Paragraphs>
  <Slides>4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2" baseType="lpstr">
      <vt:lpstr>Arial</vt:lpstr>
      <vt:lpstr>Arial Narrow</vt:lpstr>
      <vt:lpstr>Calibri</vt:lpstr>
      <vt:lpstr>Calibri Light</vt:lpstr>
      <vt:lpstr>Noto Sans</vt:lpstr>
      <vt:lpstr>Tema do Office</vt:lpstr>
      <vt:lpstr>4_Office Theme</vt:lpstr>
      <vt:lpstr>Slide do think-cell</vt:lpstr>
      <vt:lpstr>Cross pollination</vt:lpstr>
      <vt:lpstr>Apresentação do PowerPoint</vt:lpstr>
      <vt:lpstr>Análises</vt:lpstr>
      <vt:lpstr>Anális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oss pollination</dc:title>
  <dc:creator>Vieira Pereira, Nayara</dc:creator>
  <cp:lastModifiedBy>Vieira Pereira, Nayara</cp:lastModifiedBy>
  <cp:revision>1</cp:revision>
  <dcterms:created xsi:type="dcterms:W3CDTF">2023-04-14T09:54:20Z</dcterms:created>
  <dcterms:modified xsi:type="dcterms:W3CDTF">2023-04-14T10:0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791b42f-c435-42ca-9531-75a3f42aae3d_Enabled">
    <vt:lpwstr>true</vt:lpwstr>
  </property>
  <property fmtid="{D5CDD505-2E9C-101B-9397-08002B2CF9AE}" pid="3" name="MSIP_Label_4791b42f-c435-42ca-9531-75a3f42aae3d_SetDate">
    <vt:lpwstr>2023-04-14T10:02:36Z</vt:lpwstr>
  </property>
  <property fmtid="{D5CDD505-2E9C-101B-9397-08002B2CF9AE}" pid="4" name="MSIP_Label_4791b42f-c435-42ca-9531-75a3f42aae3d_Method">
    <vt:lpwstr>Privileged</vt:lpwstr>
  </property>
  <property fmtid="{D5CDD505-2E9C-101B-9397-08002B2CF9AE}" pid="5" name="MSIP_Label_4791b42f-c435-42ca-9531-75a3f42aae3d_Name">
    <vt:lpwstr>4791b42f-c435-42ca-9531-75a3f42aae3d</vt:lpwstr>
  </property>
  <property fmtid="{D5CDD505-2E9C-101B-9397-08002B2CF9AE}" pid="6" name="MSIP_Label_4791b42f-c435-42ca-9531-75a3f42aae3d_SiteId">
    <vt:lpwstr>7a916015-20ae-4ad1-9170-eefd915e9272</vt:lpwstr>
  </property>
  <property fmtid="{D5CDD505-2E9C-101B-9397-08002B2CF9AE}" pid="7" name="MSIP_Label_4791b42f-c435-42ca-9531-75a3f42aae3d_ActionId">
    <vt:lpwstr>c34ccb8c-de1c-41e3-8a36-f9fbe81e368c</vt:lpwstr>
  </property>
  <property fmtid="{D5CDD505-2E9C-101B-9397-08002B2CF9AE}" pid="8" name="MSIP_Label_4791b42f-c435-42ca-9531-75a3f42aae3d_ContentBits">
    <vt:lpwstr>0</vt:lpwstr>
  </property>
</Properties>
</file>